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0" r:id="rId1"/>
    <p:sldMasterId id="2147483734" r:id="rId2"/>
    <p:sldMasterId id="2147483751" r:id="rId3"/>
  </p:sldMasterIdLst>
  <p:notesMasterIdLst>
    <p:notesMasterId r:id="rId12"/>
  </p:notesMasterIdLst>
  <p:handoutMasterIdLst>
    <p:handoutMasterId r:id="rId13"/>
  </p:handoutMasterIdLst>
  <p:sldIdLst>
    <p:sldId id="726" r:id="rId4"/>
    <p:sldId id="730" r:id="rId5"/>
    <p:sldId id="729" r:id="rId6"/>
    <p:sldId id="687" r:id="rId7"/>
    <p:sldId id="731" r:id="rId8"/>
    <p:sldId id="727" r:id="rId9"/>
    <p:sldId id="728" r:id="rId10"/>
    <p:sldId id="732" r:id="rId11"/>
  </p:sldIdLst>
  <p:sldSz cx="9906000" cy="6858000" type="A4"/>
  <p:notesSz cx="6805613" cy="9939338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E1D1"/>
    <a:srgbClr val="92D050"/>
    <a:srgbClr val="EBF1DE"/>
    <a:srgbClr val="4BB2FF"/>
    <a:srgbClr val="1E5FAC"/>
    <a:srgbClr val="94B4F4"/>
    <a:srgbClr val="578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36" autoAdjust="0"/>
    <p:restoredTop sz="94434" autoAdjust="0"/>
  </p:normalViewPr>
  <p:slideViewPr>
    <p:cSldViewPr>
      <p:cViewPr>
        <p:scale>
          <a:sx n="80" d="100"/>
          <a:sy n="80" d="100"/>
        </p:scale>
        <p:origin x="-660" y="-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0" d="100"/>
          <a:sy n="50" d="100"/>
        </p:scale>
        <p:origin x="2898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D2A4B-6237-4C2E-B3EB-09C33427159F}" type="datetimeFigureOut">
              <a:rPr lang="uk-UA" smtClean="0"/>
              <a:pPr/>
              <a:t>11.12.2016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uk-UA" smtClean="0"/>
              <a:t>0</a:t>
            </a:r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8910EC-4D69-4066-A7DD-489A903BDA21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289892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84ED5D-36CF-4EE0-B6C6-9FC39966E84F}" type="datetimeFigureOut">
              <a:rPr lang="ru-RU" smtClean="0"/>
              <a:pPr/>
              <a:t>11.12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3537" cy="4471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/>
              <a:t>0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5"/>
          </p:nvPr>
        </p:nvSpPr>
        <p:spPr>
          <a:xfrm>
            <a:off x="385445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938FF0-D586-48F6-AB6C-8F8C363FB88E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994568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38FF0-D586-48F6-AB6C-8F8C363FB88E}" type="slidenum">
              <a:rPr lang="uk-UA" smtClean="0">
                <a:solidFill>
                  <a:prstClr val="black"/>
                </a:solidFill>
              </a:rPr>
              <a:pPr/>
              <a:t>4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758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38FF0-D586-48F6-AB6C-8F8C363FB88E}" type="slidenum">
              <a:rPr lang="uk-UA" smtClean="0">
                <a:solidFill>
                  <a:prstClr val="black"/>
                </a:solidFill>
              </a:rPr>
              <a:pPr/>
              <a:t>6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7587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938FF0-D586-48F6-AB6C-8F8C363FB88E}" type="slidenum">
              <a:rPr lang="uk-UA" smtClean="0">
                <a:solidFill>
                  <a:prstClr val="black"/>
                </a:solidFill>
              </a:rPr>
              <a:pPr/>
              <a:t>7</a:t>
            </a:fld>
            <a:endParaRPr lang="uk-U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758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5.png"/><Relationship Id="rId4" Type="http://schemas.openxmlformats.org/officeDocument/2006/relationships/tags" Target="../tags/tag8.xml"/><Relationship Id="rId9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лайд (опциональн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47662" y="301849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Mariupol gerb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6597132"/>
            <a:ext cx="184626" cy="217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508972" y="6525124"/>
            <a:ext cx="692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Mariupol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600" spc="0" baseline="0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strong city</a:t>
            </a:r>
            <a:endParaRPr lang="ru-RU" sz="600" spc="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137456" y="6525123"/>
            <a:ext cx="646976" cy="36534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sz="1200"/>
            </a:lvl1pPr>
          </a:lstStyle>
          <a:p>
            <a:pPr lvl="0"/>
            <a:fld id="{21BCFEFA-A35A-44B9-9055-5428A74DE6B7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0501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823" y="2128096"/>
            <a:ext cx="4185344" cy="4729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6485371" y="5717640"/>
            <a:ext cx="2069143" cy="47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r" eaLnBrk="1" hangingPunct="1">
              <a:lnSpc>
                <a:spcPts val="1995"/>
              </a:lnSpc>
            </a:pPr>
            <a:r>
              <a:rPr lang="ru-RU" sz="1088">
                <a:solidFill>
                  <a:srgbClr val="1E5FA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859" y="1307383"/>
            <a:ext cx="705891" cy="82071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1513" y="2613327"/>
            <a:ext cx="5003002" cy="13995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r" defTabSz="902932" rtl="0" eaLnBrk="1" latinLnBrk="0" hangingPunct="1">
              <a:lnSpc>
                <a:spcPts val="3265"/>
              </a:lnSpc>
              <a:defRPr lang="ru-RU" sz="3265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346" y="4012830"/>
            <a:ext cx="4269170" cy="111447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995"/>
              </a:lnSpc>
              <a:spcBef>
                <a:spcPts val="0"/>
              </a:spcBef>
              <a:buNone/>
              <a:defRPr lang="ru-RU" sz="1451" kern="1200" dirty="0" smtClean="0">
                <a:solidFill>
                  <a:srgbClr val="1E5FA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  <a:lvl2pPr marL="451466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2pPr>
            <a:lvl3pPr marL="902931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3pPr>
            <a:lvl4pPr marL="1354398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4pPr>
            <a:lvl5pPr marL="1805863" indent="0">
              <a:buNone/>
              <a:defRPr lang="ru-RU" sz="1451" kern="1200" dirty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9781757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379" y="1307383"/>
            <a:ext cx="548535" cy="63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551513" y="2613326"/>
            <a:ext cx="5003001" cy="142292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lang="ru-RU" sz="3991" kern="1200" dirty="0">
                <a:solidFill>
                  <a:srgbClr val="1E5FAC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093666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18"/>
          <p:cNvSpPr txBox="1">
            <a:spLocks/>
          </p:cNvSpPr>
          <p:nvPr/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fld id="{F9CAFC4F-0B4F-48E1-9260-10BA11E44C02}" type="slidenum">
              <a:rPr lang="ru-RU" sz="1814" b="1" smtClean="0">
                <a:solidFill>
                  <a:srgbClr val="6DCFF6"/>
                </a:solidFill>
              </a:rPr>
              <a:pPr eaLnBrk="1" hangingPunct="1">
                <a:defRPr/>
              </a:pPr>
              <a:t>‹#›</a:t>
            </a:fld>
            <a:endParaRPr lang="ru-RU" sz="1814" b="1" smtClean="0">
              <a:solidFill>
                <a:srgbClr val="6DCFF6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6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615907" y="1432894"/>
            <a:ext cx="3535613" cy="1180432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1995"/>
              </a:lnSpc>
              <a:defRPr sz="217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615906" y="2613326"/>
            <a:ext cx="8672439" cy="3036641"/>
          </a:xfrm>
          <a:prstGeom prst="rect">
            <a:avLst/>
          </a:prstGeom>
        </p:spPr>
        <p:txBody>
          <a:bodyPr lIns="0" tIns="0" rIns="0" bIns="0" numCol="4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1402737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7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7"/>
          <p:cNvSpPr txBox="1">
            <a:spLocks/>
          </p:cNvSpPr>
          <p:nvPr/>
        </p:nvSpPr>
        <p:spPr>
          <a:xfrm>
            <a:off x="616184" y="1432650"/>
            <a:ext cx="3535336" cy="1180676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dirty="0" smtClean="0"/>
              <a:t>Образец заголовка</a:t>
            </a:r>
            <a:r>
              <a:rPr lang="en-GB" sz="2177" dirty="0" smtClean="0"/>
              <a:t> </a:t>
            </a:r>
            <a:r>
              <a:rPr lang="ru-RU" sz="2177" dirty="0" smtClean="0"/>
              <a:t>в две или три строки</a:t>
            </a:r>
            <a:endParaRPr lang="ru-RU" sz="2177" dirty="0"/>
          </a:p>
        </p:txBody>
      </p:sp>
      <p:sp>
        <p:nvSpPr>
          <p:cNvPr id="16" name="Текст 19"/>
          <p:cNvSpPr>
            <a:spLocks noGrp="1"/>
          </p:cNvSpPr>
          <p:nvPr>
            <p:ph type="body" sz="quarter" idx="11"/>
          </p:nvPr>
        </p:nvSpPr>
        <p:spPr>
          <a:xfrm>
            <a:off x="615907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19"/>
          <p:cNvSpPr>
            <a:spLocks noGrp="1"/>
          </p:cNvSpPr>
          <p:nvPr>
            <p:ph type="body" sz="quarter" idx="12"/>
          </p:nvPr>
        </p:nvSpPr>
        <p:spPr>
          <a:xfrm>
            <a:off x="2817402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19"/>
          <p:cNvSpPr>
            <a:spLocks noGrp="1"/>
          </p:cNvSpPr>
          <p:nvPr>
            <p:ph type="body" sz="quarter" idx="13"/>
          </p:nvPr>
        </p:nvSpPr>
        <p:spPr>
          <a:xfrm>
            <a:off x="5020648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19"/>
          <p:cNvSpPr>
            <a:spLocks noGrp="1"/>
          </p:cNvSpPr>
          <p:nvPr>
            <p:ph type="body" sz="quarter" idx="14"/>
          </p:nvPr>
        </p:nvSpPr>
        <p:spPr>
          <a:xfrm>
            <a:off x="7220674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996541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6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7"/>
          <p:cNvSpPr txBox="1">
            <a:spLocks/>
          </p:cNvSpPr>
          <p:nvPr/>
        </p:nvSpPr>
        <p:spPr>
          <a:xfrm>
            <a:off x="616185" y="1687503"/>
            <a:ext cx="2067672" cy="1180676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dirty="0" smtClean="0"/>
              <a:t>Образец заголовка</a:t>
            </a:r>
            <a:r>
              <a:rPr lang="en-GB" sz="2177" dirty="0" smtClean="0"/>
              <a:t> </a:t>
            </a:r>
            <a:r>
              <a:rPr lang="ru-RU" sz="2177" dirty="0" smtClean="0"/>
              <a:t>в две или три строки</a:t>
            </a:r>
            <a:endParaRPr lang="ru-RU" sz="2177" dirty="0"/>
          </a:p>
        </p:txBody>
      </p:sp>
      <p:sp>
        <p:nvSpPr>
          <p:cNvPr id="19" name="Текст 19"/>
          <p:cNvSpPr>
            <a:spLocks noGrp="1"/>
          </p:cNvSpPr>
          <p:nvPr>
            <p:ph type="body" sz="quarter" idx="12"/>
          </p:nvPr>
        </p:nvSpPr>
        <p:spPr>
          <a:xfrm>
            <a:off x="2817402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5020648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7220674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366667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5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7"/>
          <p:cNvSpPr txBox="1">
            <a:spLocks/>
          </p:cNvSpPr>
          <p:nvPr/>
        </p:nvSpPr>
        <p:spPr>
          <a:xfrm>
            <a:off x="616184" y="1431210"/>
            <a:ext cx="3535336" cy="626335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dirty="0" smtClean="0"/>
              <a:t>Образец заголовка</a:t>
            </a:r>
            <a:r>
              <a:rPr lang="en-GB" sz="2177" dirty="0" smtClean="0"/>
              <a:t> </a:t>
            </a:r>
            <a:r>
              <a:rPr lang="ru-RU" sz="2177" dirty="0" smtClean="0"/>
              <a:t>в две или три строки</a:t>
            </a:r>
            <a:endParaRPr lang="ru-RU" sz="2177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3551235" y="2509776"/>
            <a:ext cx="2803253" cy="314019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6486842" y="2509776"/>
            <a:ext cx="2801782" cy="314019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27855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5906" y="1963470"/>
            <a:ext cx="1767808" cy="1143240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>
          <a:xfrm>
            <a:off x="2819152" y="1304503"/>
            <a:ext cx="2066201" cy="43454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451466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902931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1354398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1805863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6"/>
          </p:nvPr>
        </p:nvSpPr>
        <p:spPr>
          <a:xfrm>
            <a:off x="5320791" y="1304502"/>
            <a:ext cx="3967833" cy="261332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7"/>
          </p:nvPr>
        </p:nvSpPr>
        <p:spPr>
          <a:xfrm>
            <a:off x="5320791" y="4227396"/>
            <a:ext cx="1601490" cy="996375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8"/>
          </p:nvPr>
        </p:nvSpPr>
        <p:spPr>
          <a:xfrm>
            <a:off x="7153025" y="4227396"/>
            <a:ext cx="1601490" cy="996375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9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9141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картинко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5906" y="1877563"/>
            <a:ext cx="1767808" cy="1229146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>
          <a:xfrm>
            <a:off x="617655" y="4473611"/>
            <a:ext cx="8670691" cy="1176355"/>
          </a:xfrm>
          <a:prstGeom prst="rect">
            <a:avLst/>
          </a:prstGeom>
        </p:spPr>
        <p:txBody>
          <a:bodyPr lIns="0" tIns="0" rIns="0" bIns="0" numCol="4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451466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902931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1354398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1805863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6"/>
          </p:nvPr>
        </p:nvSpPr>
        <p:spPr>
          <a:xfrm>
            <a:off x="2819153" y="1304502"/>
            <a:ext cx="4269167" cy="261332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8"/>
          </p:nvPr>
        </p:nvSpPr>
        <p:spPr>
          <a:xfrm>
            <a:off x="7222741" y="1304503"/>
            <a:ext cx="2065604" cy="261476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9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378637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6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615905" y="1532719"/>
            <a:ext cx="2501189" cy="114324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0"/>
          </p:nvPr>
        </p:nvSpPr>
        <p:spPr>
          <a:xfrm>
            <a:off x="1216192" y="3289479"/>
            <a:ext cx="1900902" cy="23604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Диаграмма 16"/>
          <p:cNvSpPr>
            <a:spLocks noGrp="1"/>
          </p:cNvSpPr>
          <p:nvPr>
            <p:ph type="chart" sz="quarter" idx="11"/>
          </p:nvPr>
        </p:nvSpPr>
        <p:spPr>
          <a:xfrm>
            <a:off x="3419159" y="1304503"/>
            <a:ext cx="5869187" cy="4345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2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404030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7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Диаграмма 9"/>
          <p:cNvSpPr>
            <a:spLocks noGrp="1"/>
          </p:cNvSpPr>
          <p:nvPr>
            <p:ph type="chart" sz="quarter" idx="10"/>
          </p:nvPr>
        </p:nvSpPr>
        <p:spPr>
          <a:xfrm>
            <a:off x="3551514" y="1304503"/>
            <a:ext cx="3536806" cy="43454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617655" y="1881883"/>
            <a:ext cx="2499439" cy="1143240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1"/>
          </p:nvPr>
        </p:nvSpPr>
        <p:spPr>
          <a:xfrm>
            <a:off x="7510357" y="1959635"/>
            <a:ext cx="1777989" cy="27097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2"/>
          </p:nvPr>
        </p:nvSpPr>
        <p:spPr>
          <a:xfrm>
            <a:off x="1350112" y="4586638"/>
            <a:ext cx="1777989" cy="10633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907"/>
            </a:lvl1pPr>
            <a:lvl2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118"/>
          <p:cNvSpPr>
            <a:spLocks noGrp="1"/>
          </p:cNvSpPr>
          <p:nvPr>
            <p:ph type="sldNum" sz="quarter" idx="13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48038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ительный слайд (опциональн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47662" y="301849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Mariupol gerb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25" y="644633"/>
            <a:ext cx="383753" cy="45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579614" y="553461"/>
            <a:ext cx="12234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Mariupol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spc="300" baseline="0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strong city</a:t>
            </a:r>
            <a:endParaRPr lang="ru-RU" sz="1200" spc="3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 userDrawn="1">
            <p:custDataLst>
              <p:tags r:id="rId1"/>
            </p:custDataLst>
          </p:nvPr>
        </p:nvSpPr>
        <p:spPr>
          <a:xfrm>
            <a:off x="-9195" y="1264005"/>
            <a:ext cx="1937859" cy="14449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Текст 5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-9195" y="1268760"/>
            <a:ext cx="1937859" cy="565274"/>
          </a:xfrm>
          <a:prstGeom prst="rect">
            <a:avLst/>
          </a:prstGeom>
        </p:spPr>
        <p:txBody>
          <a:bodyPr/>
          <a:lstStyle>
            <a:lvl1pPr marL="174625" indent="-174625" algn="l">
              <a:spcBef>
                <a:spcPts val="0"/>
              </a:spcBef>
              <a:buFont typeface="Wingdings" panose="05000000000000000000" pitchFamily="2" charset="2"/>
              <a:buNone/>
              <a:defRPr lang="ru-RU" sz="2800" b="1" kern="1200" spc="-100" baseline="0" dirty="0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 defTabSz="914400" latinLnBrk="0"/>
            <a:r>
              <a:rPr lang="ru-RU" dirty="0" smtClean="0"/>
              <a:t>Название блока</a:t>
            </a:r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137456" y="6525123"/>
            <a:ext cx="646976" cy="36534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sz="1200"/>
            </a:lvl1pPr>
          </a:lstStyle>
          <a:p>
            <a:pPr lvl="0"/>
            <a:fld id="{21BCFEFA-A35A-44B9-9055-5428A74DE6B7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8000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/>
          </a:p>
        </p:txBody>
      </p:sp>
      <p:pic>
        <p:nvPicPr>
          <p:cNvPr id="6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17655" y="1213797"/>
            <a:ext cx="3228714" cy="745839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Диаграмма 14"/>
          <p:cNvSpPr>
            <a:spLocks noGrp="1"/>
          </p:cNvSpPr>
          <p:nvPr>
            <p:ph type="chart" sz="quarter" idx="10"/>
          </p:nvPr>
        </p:nvSpPr>
        <p:spPr>
          <a:xfrm>
            <a:off x="615907" y="2057544"/>
            <a:ext cx="8672439" cy="35924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/>
          </p:nvPr>
        </p:nvSpPr>
        <p:spPr>
          <a:xfrm>
            <a:off x="4151521" y="1304503"/>
            <a:ext cx="4538289" cy="1147561"/>
          </a:xfrm>
          <a:prstGeom prst="rect">
            <a:avLst/>
          </a:prstGeom>
          <a:solidFill>
            <a:schemeClr val="bg1"/>
          </a:solidFill>
        </p:spPr>
        <p:txBody>
          <a:bodyPr lIns="144000" tIns="0" rIns="144000" bIns="0" numCol="2" spcCol="144000"/>
          <a:lstStyle>
            <a:lvl1pPr marL="0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1466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902931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1354398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1805863" indent="0">
              <a:buNone/>
              <a:defRPr lang="ru-RU" sz="907" kern="120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2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520043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513" y="1307383"/>
            <a:ext cx="705891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3551514" y="3183507"/>
            <a:ext cx="5736832" cy="85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eaLnBrk="1" hangingPunct="1">
              <a:lnSpc>
                <a:spcPts val="3628"/>
              </a:lnSpc>
            </a:pPr>
            <a:r>
              <a:rPr lang="ru-RU" sz="4354">
                <a:solidFill>
                  <a:srgbClr val="1E5FAC"/>
                </a:solidFill>
                <a:latin typeface="Segoe UI Light" panose="020B0502040204020203" pitchFamily="34" charset="0"/>
                <a:ea typeface="Segoe UI Black"/>
                <a:cs typeface="Segoe UI Light" panose="020B0502040204020203" pitchFamily="34" charset="0"/>
              </a:rPr>
              <a:t>Спасибо за внимание!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551513" y="5649967"/>
            <a:ext cx="2069142" cy="53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eaLnBrk="1" hangingPunct="1">
              <a:lnSpc>
                <a:spcPts val="1995"/>
              </a:lnSpc>
            </a:pPr>
            <a:r>
              <a:rPr lang="ru-RU" sz="1088">
                <a:solidFill>
                  <a:srgbClr val="1E5FA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</p:spTree>
    <p:extLst>
      <p:ext uri="{BB962C8B-B14F-4D97-AF65-F5344CB8AC3E}">
        <p14:creationId xmlns:p14="http://schemas.microsoft.com/office/powerpoint/2010/main" val="3265338789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1E5F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>
            <a:spLocks noChangeArrowheads="1"/>
          </p:cNvSpPr>
          <p:nvPr userDrawn="1"/>
        </p:nvSpPr>
        <p:spPr bwMode="auto">
          <a:xfrm>
            <a:off x="2517677" y="5717640"/>
            <a:ext cx="2069143" cy="47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r" eaLnBrk="1" hangingPunct="1">
              <a:lnSpc>
                <a:spcPts val="1995"/>
              </a:lnSpc>
            </a:pPr>
            <a:r>
              <a:rPr lang="ru-RU" sz="1088">
                <a:solidFill>
                  <a:srgbClr val="CCECF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  <p:pic>
        <p:nvPicPr>
          <p:cNvPr id="5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929" y="1307383"/>
            <a:ext cx="705891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648" y="1298744"/>
            <a:ext cx="4267698" cy="4823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617653" y="3030421"/>
            <a:ext cx="3967696" cy="13995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r" defTabSz="902932" rtl="0" eaLnBrk="1" latinLnBrk="0" hangingPunct="1">
              <a:lnSpc>
                <a:spcPts val="3265"/>
              </a:lnSpc>
              <a:defRPr lang="ru-RU" sz="3265" kern="1200" dirty="0">
                <a:solidFill>
                  <a:srgbClr val="CCECF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0"/>
          </p:nvPr>
        </p:nvSpPr>
        <p:spPr>
          <a:xfrm>
            <a:off x="617654" y="4429925"/>
            <a:ext cx="3967696" cy="69737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995"/>
              </a:lnSpc>
              <a:spcBef>
                <a:spcPts val="0"/>
              </a:spcBef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  <a:lvl2pPr marL="451466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2pPr>
            <a:lvl3pPr marL="902931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3pPr>
            <a:lvl4pPr marL="1354398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4pPr>
            <a:lvl5pPr marL="1805863" indent="0">
              <a:buNone/>
              <a:defRPr lang="ru-RU" sz="1451" kern="1200" dirty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534707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solidFill>
          <a:srgbClr val="1E5F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823" y="2128096"/>
            <a:ext cx="4185344" cy="4729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 userDrawn="1"/>
        </p:nvSpPr>
        <p:spPr bwMode="auto">
          <a:xfrm>
            <a:off x="6485371" y="5717640"/>
            <a:ext cx="2069143" cy="47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r" eaLnBrk="1" hangingPunct="1">
              <a:lnSpc>
                <a:spcPts val="1995"/>
              </a:lnSpc>
            </a:pPr>
            <a:r>
              <a:rPr lang="ru-RU" sz="1088">
                <a:solidFill>
                  <a:srgbClr val="CCECF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  <p:pic>
        <p:nvPicPr>
          <p:cNvPr id="7" name="Рисунок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859" y="1307383"/>
            <a:ext cx="705891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1513" y="2613327"/>
            <a:ext cx="5003002" cy="13995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r" defTabSz="902932" rtl="0" eaLnBrk="1" latinLnBrk="0" hangingPunct="1">
              <a:lnSpc>
                <a:spcPts val="3265"/>
              </a:lnSpc>
              <a:defRPr lang="ru-RU" sz="3265" kern="1200" dirty="0">
                <a:solidFill>
                  <a:srgbClr val="CCECF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346" y="4012830"/>
            <a:ext cx="4269170" cy="111447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995"/>
              </a:lnSpc>
              <a:spcBef>
                <a:spcPts val="0"/>
              </a:spcBef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  <a:lvl2pPr marL="451466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2pPr>
            <a:lvl3pPr marL="902931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3pPr>
            <a:lvl4pPr marL="1354398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4pPr>
            <a:lvl5pPr marL="1805863" indent="0">
              <a:buNone/>
              <a:defRPr lang="ru-RU" sz="1451" kern="1200" dirty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63055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solidFill>
          <a:srgbClr val="1E5F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7379" y="1307383"/>
            <a:ext cx="548535" cy="63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551513" y="2613326"/>
            <a:ext cx="5003001" cy="1422927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lang="ru-RU" sz="3991" kern="1200" dirty="0">
                <a:solidFill>
                  <a:srgbClr val="CCECFC"/>
                </a:solidFill>
                <a:latin typeface="Segoe UI Light" panose="020B05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9115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18"/>
          <p:cNvSpPr txBox="1">
            <a:spLocks/>
          </p:cNvSpPr>
          <p:nvPr userDrawn="1"/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95363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fld id="{75FE7971-9DD5-4C0E-8659-353188D58601}" type="slidenum">
              <a:rPr lang="ru-RU" sz="1814" b="1" smtClean="0">
                <a:solidFill>
                  <a:srgbClr val="6DCFF6"/>
                </a:solidFill>
              </a:rPr>
              <a:pPr eaLnBrk="1" hangingPunct="1">
                <a:defRPr/>
              </a:pPr>
              <a:t>‹#›</a:t>
            </a:fld>
            <a:endParaRPr lang="ru-RU" sz="1814" b="1" smtClean="0">
              <a:solidFill>
                <a:srgbClr val="6DCFF6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6" name="Рисунок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Заголовок 17"/>
          <p:cNvSpPr>
            <a:spLocks noGrp="1"/>
          </p:cNvSpPr>
          <p:nvPr>
            <p:ph type="title"/>
          </p:nvPr>
        </p:nvSpPr>
        <p:spPr>
          <a:xfrm>
            <a:off x="615907" y="1432894"/>
            <a:ext cx="3535613" cy="1180432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1995"/>
              </a:lnSpc>
              <a:defRPr sz="217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615906" y="2613326"/>
            <a:ext cx="8672439" cy="3036641"/>
          </a:xfrm>
          <a:prstGeom prst="rect">
            <a:avLst/>
          </a:prstGeom>
        </p:spPr>
        <p:txBody>
          <a:bodyPr lIns="0" tIns="0" rIns="0" bIns="0" numCol="4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39491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7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7"/>
          <p:cNvSpPr txBox="1">
            <a:spLocks/>
          </p:cNvSpPr>
          <p:nvPr userDrawn="1"/>
        </p:nvSpPr>
        <p:spPr>
          <a:xfrm>
            <a:off x="616184" y="1432650"/>
            <a:ext cx="3535336" cy="1180676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smtClean="0">
                <a:solidFill>
                  <a:srgbClr val="1E5FAC"/>
                </a:solidFill>
              </a:rPr>
              <a:t>Образец заголовка</a:t>
            </a:r>
            <a:r>
              <a:rPr lang="en-GB" sz="2177" smtClean="0">
                <a:solidFill>
                  <a:srgbClr val="1E5FAC"/>
                </a:solidFill>
              </a:rPr>
              <a:t> </a:t>
            </a:r>
            <a:r>
              <a:rPr lang="ru-RU" sz="2177" smtClean="0">
                <a:solidFill>
                  <a:srgbClr val="1E5FAC"/>
                </a:solidFill>
              </a:rPr>
              <a:t>в две или три строки</a:t>
            </a:r>
            <a:endParaRPr lang="ru-RU" sz="2177" dirty="0">
              <a:solidFill>
                <a:srgbClr val="1E5FAC"/>
              </a:solidFill>
            </a:endParaRPr>
          </a:p>
        </p:txBody>
      </p:sp>
      <p:sp>
        <p:nvSpPr>
          <p:cNvPr id="16" name="Текст 19"/>
          <p:cNvSpPr>
            <a:spLocks noGrp="1"/>
          </p:cNvSpPr>
          <p:nvPr>
            <p:ph type="body" sz="quarter" idx="11"/>
          </p:nvPr>
        </p:nvSpPr>
        <p:spPr>
          <a:xfrm>
            <a:off x="615907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19"/>
          <p:cNvSpPr>
            <a:spLocks noGrp="1"/>
          </p:cNvSpPr>
          <p:nvPr>
            <p:ph type="body" sz="quarter" idx="12"/>
          </p:nvPr>
        </p:nvSpPr>
        <p:spPr>
          <a:xfrm>
            <a:off x="2817402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19"/>
          <p:cNvSpPr>
            <a:spLocks noGrp="1"/>
          </p:cNvSpPr>
          <p:nvPr>
            <p:ph type="body" sz="quarter" idx="13"/>
          </p:nvPr>
        </p:nvSpPr>
        <p:spPr>
          <a:xfrm>
            <a:off x="5020648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19"/>
          <p:cNvSpPr>
            <a:spLocks noGrp="1"/>
          </p:cNvSpPr>
          <p:nvPr>
            <p:ph type="body" sz="quarter" idx="14"/>
          </p:nvPr>
        </p:nvSpPr>
        <p:spPr>
          <a:xfrm>
            <a:off x="7220674" y="2613326"/>
            <a:ext cx="2067950" cy="303664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4108C4A-205D-420F-8423-CEB3246B9A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0046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6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7"/>
          <p:cNvSpPr txBox="1">
            <a:spLocks/>
          </p:cNvSpPr>
          <p:nvPr userDrawn="1"/>
        </p:nvSpPr>
        <p:spPr>
          <a:xfrm>
            <a:off x="616185" y="1687503"/>
            <a:ext cx="2067672" cy="1180676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dirty="0" smtClean="0">
                <a:solidFill>
                  <a:srgbClr val="1E5FAC"/>
                </a:solidFill>
              </a:rPr>
              <a:t>Образец заголовка</a:t>
            </a:r>
            <a:r>
              <a:rPr lang="en-GB" sz="2177" dirty="0" smtClean="0">
                <a:solidFill>
                  <a:srgbClr val="1E5FAC"/>
                </a:solidFill>
              </a:rPr>
              <a:t> </a:t>
            </a:r>
            <a:r>
              <a:rPr lang="ru-RU" sz="2177" dirty="0" smtClean="0">
                <a:solidFill>
                  <a:srgbClr val="1E5FAC"/>
                </a:solidFill>
              </a:rPr>
              <a:t>в две или три строки</a:t>
            </a:r>
            <a:endParaRPr lang="ru-RU" sz="2177" dirty="0">
              <a:solidFill>
                <a:srgbClr val="1E5FAC"/>
              </a:solidFill>
            </a:endParaRPr>
          </a:p>
        </p:txBody>
      </p:sp>
      <p:sp>
        <p:nvSpPr>
          <p:cNvPr id="19" name="Текст 19"/>
          <p:cNvSpPr>
            <a:spLocks noGrp="1"/>
          </p:cNvSpPr>
          <p:nvPr>
            <p:ph type="body" sz="quarter" idx="12"/>
          </p:nvPr>
        </p:nvSpPr>
        <p:spPr>
          <a:xfrm>
            <a:off x="2817402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5020648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7220674" y="1687744"/>
            <a:ext cx="2067950" cy="3962222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074C353-A3E6-48BF-8869-671ADB2DC9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8557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по отдельнос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5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7"/>
          <p:cNvSpPr txBox="1">
            <a:spLocks/>
          </p:cNvSpPr>
          <p:nvPr userDrawn="1"/>
        </p:nvSpPr>
        <p:spPr>
          <a:xfrm>
            <a:off x="616184" y="1431210"/>
            <a:ext cx="3535336" cy="626335"/>
          </a:xfrm>
          <a:prstGeom prst="rect">
            <a:avLst/>
          </a:prstGeom>
        </p:spPr>
        <p:txBody>
          <a:bodyPr lIns="0" tIns="0" rIns="0" bIns="0"/>
          <a:lstStyle>
            <a:lvl1pPr algn="r" defTabSz="995515" rtl="0" eaLnBrk="1" latinLnBrk="0" hangingPunct="1">
              <a:lnSpc>
                <a:spcPts val="22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77" dirty="0" smtClean="0">
                <a:solidFill>
                  <a:srgbClr val="1E5FAC"/>
                </a:solidFill>
              </a:rPr>
              <a:t>Образец заголовка</a:t>
            </a:r>
            <a:r>
              <a:rPr lang="en-GB" sz="2177" dirty="0" smtClean="0">
                <a:solidFill>
                  <a:srgbClr val="1E5FAC"/>
                </a:solidFill>
              </a:rPr>
              <a:t> </a:t>
            </a:r>
            <a:r>
              <a:rPr lang="ru-RU" sz="2177" dirty="0" smtClean="0">
                <a:solidFill>
                  <a:srgbClr val="1E5FAC"/>
                </a:solidFill>
              </a:rPr>
              <a:t>в две или три строки</a:t>
            </a:r>
            <a:endParaRPr lang="ru-RU" sz="2177" dirty="0">
              <a:solidFill>
                <a:srgbClr val="1E5FAC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3551235" y="2509776"/>
            <a:ext cx="2803253" cy="314019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6486842" y="2509776"/>
            <a:ext cx="2801782" cy="3140191"/>
          </a:xfrm>
          <a:prstGeom prst="rect">
            <a:avLst/>
          </a:prstGeom>
        </p:spPr>
        <p:txBody>
          <a:bodyPr lIns="0" tIns="0" rIns="0" bIns="0" numCol="1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buNone/>
              <a:defRPr sz="1088"/>
            </a:lvl1pPr>
            <a:lvl2pPr marL="195912" indent="-195912" defTabSz="195912">
              <a:lnSpc>
                <a:spcPts val="1088"/>
              </a:lnSpc>
              <a:spcBef>
                <a:spcPts val="0"/>
              </a:spcBef>
              <a:spcAft>
                <a:spcPts val="454"/>
              </a:spcAft>
              <a:defRPr sz="1088"/>
            </a:lvl2pPr>
            <a:lvl3pPr marL="391824" indent="-195912" defTabSz="391824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Calibri" panose="020F0502020204030204" pitchFamily="34" charset="0"/>
              <a:buChar char="–"/>
              <a:defRPr sz="907"/>
            </a:lvl3pPr>
            <a:lvl4pPr marL="587736" indent="-195912" defTabSz="587736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Wingdings" panose="05000000000000000000" pitchFamily="2" charset="2"/>
              <a:buChar char="§"/>
              <a:defRPr sz="907"/>
            </a:lvl4pPr>
            <a:lvl5pPr marL="783648" indent="-195912" defTabSz="783648">
              <a:lnSpc>
                <a:spcPts val="907"/>
              </a:lnSpc>
              <a:spcBef>
                <a:spcPts val="0"/>
              </a:spcBef>
              <a:spcAft>
                <a:spcPts val="454"/>
              </a:spcAft>
              <a:buFont typeface="Arial" panose="020B0604020202020204" pitchFamily="34" charset="0"/>
              <a:buChar char="•"/>
              <a:defRPr sz="90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5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CB3CF5B-89A0-472F-A5D7-0DE8182D37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0546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8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5906" y="1963470"/>
            <a:ext cx="1767808" cy="1143240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>
          <a:xfrm>
            <a:off x="2819152" y="1304503"/>
            <a:ext cx="2066201" cy="43454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451466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902931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1354398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1805863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6"/>
          </p:nvPr>
        </p:nvSpPr>
        <p:spPr>
          <a:xfrm>
            <a:off x="5320791" y="1304502"/>
            <a:ext cx="3967833" cy="261332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7"/>
          </p:nvPr>
        </p:nvSpPr>
        <p:spPr>
          <a:xfrm>
            <a:off x="5320791" y="4227396"/>
            <a:ext cx="1601490" cy="996375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8"/>
          </p:nvPr>
        </p:nvSpPr>
        <p:spPr>
          <a:xfrm>
            <a:off x="7153025" y="4227396"/>
            <a:ext cx="1601490" cy="996375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9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B3CEB7F-D431-41CF-A09D-5007B3B6D2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136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ительный слайд (опциональн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47662" y="301849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Mariupol gerb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2" y="2576416"/>
            <a:ext cx="539458" cy="636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56456" y="2550158"/>
            <a:ext cx="12234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Mariupol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spc="300" baseline="0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strong city</a:t>
            </a:r>
            <a:endParaRPr lang="ru-RU" sz="1200" spc="3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 userDrawn="1">
            <p:custDataLst>
              <p:tags r:id="rId1"/>
            </p:custDataLst>
          </p:nvPr>
        </p:nvSpPr>
        <p:spPr>
          <a:xfrm>
            <a:off x="1928664" y="2564904"/>
            <a:ext cx="7977336" cy="570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Текст 5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1928664" y="2569659"/>
            <a:ext cx="7977336" cy="565274"/>
          </a:xfrm>
          <a:prstGeom prst="rect">
            <a:avLst/>
          </a:prstGeom>
        </p:spPr>
        <p:txBody>
          <a:bodyPr/>
          <a:lstStyle>
            <a:lvl1pPr marL="174625" indent="-174625" algn="l">
              <a:spcBef>
                <a:spcPts val="0"/>
              </a:spcBef>
              <a:buFont typeface="Wingdings" panose="05000000000000000000" pitchFamily="2" charset="2"/>
              <a:buNone/>
              <a:defRPr lang="ru-RU" sz="2800" b="1" kern="1200" spc="-100" baseline="0" dirty="0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 defTabSz="914400" latinLnBrk="0"/>
            <a:r>
              <a:rPr lang="ru-RU" dirty="0" smtClean="0"/>
              <a:t>Название блока</a:t>
            </a:r>
          </a:p>
        </p:txBody>
      </p:sp>
    </p:spTree>
    <p:extLst>
      <p:ext uri="{BB962C8B-B14F-4D97-AF65-F5344CB8AC3E}">
        <p14:creationId xmlns:p14="http://schemas.microsoft.com/office/powerpoint/2010/main" val="3336125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картинко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8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5906" y="1877563"/>
            <a:ext cx="1767808" cy="1229146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5"/>
          </p:nvPr>
        </p:nvSpPr>
        <p:spPr>
          <a:xfrm>
            <a:off x="617655" y="4473611"/>
            <a:ext cx="8670691" cy="1176355"/>
          </a:xfrm>
          <a:prstGeom prst="rect">
            <a:avLst/>
          </a:prstGeom>
        </p:spPr>
        <p:txBody>
          <a:bodyPr lIns="0" tIns="0" rIns="0" bIns="0" numCol="4" spcCol="14400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451466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902931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1354398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1805863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6"/>
          </p:nvPr>
        </p:nvSpPr>
        <p:spPr>
          <a:xfrm>
            <a:off x="2819153" y="1304502"/>
            <a:ext cx="4269167" cy="2613327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19" name="Рисунок 5"/>
          <p:cNvSpPr>
            <a:spLocks noGrp="1"/>
          </p:cNvSpPr>
          <p:nvPr>
            <p:ph type="pic" sz="quarter" idx="18"/>
          </p:nvPr>
        </p:nvSpPr>
        <p:spPr>
          <a:xfrm>
            <a:off x="7222741" y="1304503"/>
            <a:ext cx="2065604" cy="2614766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9" name="Номер слайда 118"/>
          <p:cNvSpPr>
            <a:spLocks noGrp="1"/>
          </p:cNvSpPr>
          <p:nvPr>
            <p:ph type="sldNum" sz="quarter" idx="19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7835C6A-0118-44BD-8091-53930A2976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1684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6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615905" y="1532719"/>
            <a:ext cx="2501189" cy="114324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0"/>
          </p:nvPr>
        </p:nvSpPr>
        <p:spPr>
          <a:xfrm>
            <a:off x="1216192" y="3289479"/>
            <a:ext cx="1900902" cy="23604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Диаграмма 16"/>
          <p:cNvSpPr>
            <a:spLocks noGrp="1"/>
          </p:cNvSpPr>
          <p:nvPr>
            <p:ph type="chart" sz="quarter" idx="11"/>
          </p:nvPr>
        </p:nvSpPr>
        <p:spPr>
          <a:xfrm>
            <a:off x="3419159" y="1304503"/>
            <a:ext cx="5869187" cy="4345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2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640D24A-ABAF-453F-86DC-018FC13C89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6874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7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Диаграмма 9"/>
          <p:cNvSpPr>
            <a:spLocks noGrp="1"/>
          </p:cNvSpPr>
          <p:nvPr>
            <p:ph type="chart" sz="quarter" idx="10"/>
          </p:nvPr>
        </p:nvSpPr>
        <p:spPr>
          <a:xfrm>
            <a:off x="3551514" y="1304503"/>
            <a:ext cx="3536806" cy="43454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617655" y="1881883"/>
            <a:ext cx="2499439" cy="1143240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1"/>
          </p:nvPr>
        </p:nvSpPr>
        <p:spPr>
          <a:xfrm>
            <a:off x="7510357" y="1959635"/>
            <a:ext cx="1777989" cy="27097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1pPr>
            <a:lvl2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2"/>
          </p:nvPr>
        </p:nvSpPr>
        <p:spPr>
          <a:xfrm>
            <a:off x="1350112" y="4586638"/>
            <a:ext cx="1777989" cy="10633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907"/>
            </a:lvl1pPr>
            <a:lvl2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2pPr>
            <a:lvl3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3pPr>
            <a:lvl4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4pPr>
            <a:lvl5pPr marL="0" indent="0">
              <a:lnSpc>
                <a:spcPts val="1088"/>
              </a:lnSpc>
              <a:spcBef>
                <a:spcPts val="0"/>
              </a:spcBef>
              <a:spcAft>
                <a:spcPts val="1088"/>
              </a:spcAft>
              <a:buNone/>
              <a:defRPr sz="1088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омер слайда 118"/>
          <p:cNvSpPr>
            <a:spLocks noGrp="1"/>
          </p:cNvSpPr>
          <p:nvPr>
            <p:ph type="sldNum" sz="quarter" idx="13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E0C6695-E85E-44F1-9F27-912ADB04B6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0412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6122237"/>
            <a:ext cx="8557455" cy="33117"/>
          </a:xfrm>
          <a:prstGeom prst="rect">
            <a:avLst/>
          </a:prstGeom>
          <a:gradFill>
            <a:gsLst>
              <a:gs pos="0">
                <a:srgbClr val="6DCFF6"/>
              </a:gs>
              <a:gs pos="100000">
                <a:srgbClr val="1E5FA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029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33" dirty="0">
              <a:solidFill>
                <a:srgbClr val="FFFFFF"/>
              </a:solidFill>
            </a:endParaRPr>
          </a:p>
        </p:txBody>
      </p:sp>
      <p:pic>
        <p:nvPicPr>
          <p:cNvPr id="6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458" y="6122237"/>
            <a:ext cx="460299" cy="535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17655" y="1213797"/>
            <a:ext cx="3228714" cy="745839"/>
          </a:xfrm>
          <a:prstGeom prst="rect">
            <a:avLst/>
          </a:prstGeom>
        </p:spPr>
        <p:txBody>
          <a:bodyPr lIns="0" tIns="0" rIns="0" bIns="0"/>
          <a:lstStyle>
            <a:lvl1pPr algn="r">
              <a:lnSpc>
                <a:spcPts val="2177"/>
              </a:lnSpc>
              <a:defRPr lang="ru-RU" sz="2177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Диаграмма 14"/>
          <p:cNvSpPr>
            <a:spLocks noGrp="1"/>
          </p:cNvSpPr>
          <p:nvPr>
            <p:ph type="chart" sz="quarter" idx="10"/>
          </p:nvPr>
        </p:nvSpPr>
        <p:spPr>
          <a:xfrm>
            <a:off x="615907" y="2057544"/>
            <a:ext cx="8672439" cy="35924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/>
          </p:nvPr>
        </p:nvSpPr>
        <p:spPr>
          <a:xfrm>
            <a:off x="4151521" y="1304503"/>
            <a:ext cx="4538289" cy="1147561"/>
          </a:xfrm>
          <a:prstGeom prst="rect">
            <a:avLst/>
          </a:prstGeom>
          <a:solidFill>
            <a:schemeClr val="bg1"/>
          </a:solidFill>
        </p:spPr>
        <p:txBody>
          <a:bodyPr lIns="144000" tIns="0" rIns="144000" bIns="0" numCol="2" spcCol="144000"/>
          <a:lstStyle>
            <a:lvl1pPr marL="0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1466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2pPr>
            <a:lvl3pPr marL="902931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3pPr>
            <a:lvl4pPr marL="1354398" indent="0">
              <a:buNone/>
              <a:defRPr lang="ru-RU" sz="907" kern="1200" dirty="0" smtClean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4pPr>
            <a:lvl5pPr marL="1805863" indent="0">
              <a:buNone/>
              <a:defRPr lang="ru-RU" sz="907" kern="120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118"/>
          <p:cNvSpPr>
            <a:spLocks noGrp="1"/>
          </p:cNvSpPr>
          <p:nvPr>
            <p:ph type="sldNum" sz="quarter" idx="12"/>
          </p:nvPr>
        </p:nvSpPr>
        <p:spPr>
          <a:xfrm>
            <a:off x="616184" y="6221587"/>
            <a:ext cx="1435311" cy="36572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rgbClr val="6DCFF6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A2FEFF5D-DAB0-4FC5-AA65-2209855D3C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41101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bg>
      <p:bgPr>
        <a:solidFill>
          <a:srgbClr val="1E5FA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513" y="1307383"/>
            <a:ext cx="705891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3551514" y="3183507"/>
            <a:ext cx="5736832" cy="85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eaLnBrk="1" hangingPunct="1">
              <a:lnSpc>
                <a:spcPts val="3628"/>
              </a:lnSpc>
            </a:pPr>
            <a:r>
              <a:rPr lang="ru-RU" sz="4354">
                <a:solidFill>
                  <a:srgbClr val="CCECFC"/>
                </a:solidFill>
                <a:latin typeface="Segoe UI Light" panose="020B0502040204020203" pitchFamily="34" charset="0"/>
                <a:ea typeface="Segoe UI Black"/>
                <a:cs typeface="Segoe UI Light" panose="020B0502040204020203" pitchFamily="34" charset="0"/>
              </a:rPr>
              <a:t>Спасибо за внимание!</a:t>
            </a: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3551513" y="5649967"/>
            <a:ext cx="2069142" cy="53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eaLnBrk="1" hangingPunct="1">
              <a:lnSpc>
                <a:spcPts val="1995"/>
              </a:lnSpc>
            </a:pPr>
            <a:r>
              <a:rPr lang="ru-RU" sz="1088">
                <a:solidFill>
                  <a:srgbClr val="CCECF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</p:spTree>
    <p:extLst>
      <p:ext uri="{BB962C8B-B14F-4D97-AF65-F5344CB8AC3E}">
        <p14:creationId xmlns:p14="http://schemas.microsoft.com/office/powerpoint/2010/main" val="4046335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Прямая соединительная линия 19"/>
          <p:cNvCxnSpPr/>
          <p:nvPr userDrawn="1"/>
        </p:nvCxnSpPr>
        <p:spPr>
          <a:xfrm>
            <a:off x="347662" y="6546124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>
            <a:off x="347662" y="301849"/>
            <a:ext cx="9210675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137456" y="6525123"/>
            <a:ext cx="646976" cy="36534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sz="1200"/>
            </a:lvl1pPr>
          </a:lstStyle>
          <a:p>
            <a:pPr lvl="0"/>
            <a:fld id="{21BCFEFA-A35A-44B9-9055-5428A74DE6B7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7066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7812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5"/>
          <p:cNvSpPr txBox="1">
            <a:spLocks/>
          </p:cNvSpPr>
          <p:nvPr userDrawn="1"/>
        </p:nvSpPr>
        <p:spPr>
          <a:xfrm>
            <a:off x="9137456" y="6525123"/>
            <a:ext cx="646976" cy="36534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sz="1200"/>
            </a:lvl1pPr>
          </a:lstStyle>
          <a:p>
            <a:pPr lvl="0"/>
            <a:fld id="{21BCFEFA-A35A-44B9-9055-5428A74DE6B7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4393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 noGrp="1"/>
          </p:cNvSpPr>
          <p:nvPr>
            <p:ph type="title" idx="4294967295"/>
          </p:nvPr>
        </p:nvSpPr>
        <p:spPr>
          <a:xfrm>
            <a:off x="495001" y="273597"/>
            <a:ext cx="8915043" cy="114480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endParaRPr lang="ru-RU"/>
          </a:p>
        </p:txBody>
      </p:sp>
      <p:sp>
        <p:nvSpPr>
          <p:cNvPr id="3" name="Текст 2"/>
          <p:cNvSpPr txBox="1">
            <a:spLocks noGrp="1"/>
          </p:cNvSpPr>
          <p:nvPr>
            <p:ph type="body" idx="4294967295"/>
          </p:nvPr>
        </p:nvSpPr>
        <p:spPr>
          <a:xfrm>
            <a:off x="495001" y="1604515"/>
            <a:ext cx="8915043" cy="4525923"/>
          </a:xfrm>
          <a:prstGeom prst="rect">
            <a:avLst/>
          </a:prstGeom>
        </p:spPr>
        <p:txBody>
          <a:bodyPr/>
          <a:lstStyle>
            <a:lvl1pPr hangingPunct="0">
              <a:defRPr/>
            </a:lvl1pPr>
          </a:lstStyle>
          <a:p>
            <a:pPr lvl="0"/>
            <a:endParaRPr lang="ru-RU"/>
          </a:p>
        </p:txBody>
      </p:sp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137456" y="6525123"/>
            <a:ext cx="646976" cy="36534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>
              <a:defRPr sz="1200"/>
            </a:lvl1pPr>
          </a:lstStyle>
          <a:p>
            <a:pPr lvl="0"/>
            <a:fld id="{21BCFEFA-A35A-44B9-9055-5428A74DE6B7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135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 userDrawn="1">
            <p:custDataLst>
              <p:tags r:id="rId3"/>
            </p:custDataLst>
          </p:nvPr>
        </p:nvSpPr>
        <p:spPr>
          <a:xfrm>
            <a:off x="5745088" y="2132856"/>
            <a:ext cx="4160912" cy="15841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5745088" y="2132856"/>
            <a:ext cx="4160912" cy="1152128"/>
          </a:xfrm>
          <a:prstGeom prst="rect">
            <a:avLst/>
          </a:prstGeom>
        </p:spPr>
        <p:txBody>
          <a:bodyPr/>
          <a:lstStyle>
            <a:lvl1pPr marL="174625" indent="-174625" algn="l">
              <a:spcBef>
                <a:spcPts val="0"/>
              </a:spcBef>
              <a:buFont typeface="Wingdings" panose="05000000000000000000" pitchFamily="2" charset="2"/>
              <a:buNone/>
              <a:defRPr lang="ru-RU" sz="2800" b="1" kern="1200" spc="-100" baseline="0" dirty="0">
                <a:solidFill>
                  <a:srgbClr val="0070C0"/>
                </a:solidFill>
                <a:latin typeface="+mj-lt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lvl="0" indent="0" defTabSz="914400" latinLnBrk="0"/>
            <a:r>
              <a:rPr lang="ru-RU" dirty="0" smtClean="0"/>
              <a:t>Название</a:t>
            </a:r>
          </a:p>
        </p:txBody>
      </p:sp>
      <p:cxnSp>
        <p:nvCxnSpPr>
          <p:cNvPr id="5" name="Прямая соединительная линия 4"/>
          <p:cNvCxnSpPr/>
          <p:nvPr userDrawn="1">
            <p:custDataLst>
              <p:tags r:id="rId5"/>
            </p:custDataLst>
          </p:nvPr>
        </p:nvCxnSpPr>
        <p:spPr>
          <a:xfrm>
            <a:off x="5745088" y="2132856"/>
            <a:ext cx="0" cy="158400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3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5781092" y="3384798"/>
            <a:ext cx="4124908" cy="29605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tabLst/>
              <a:defRPr lang="ru-RU" sz="1200" b="1" kern="0" baseline="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tabLst/>
              <a:defRPr/>
            </a:pPr>
            <a:r>
              <a:rPr lang="ru-RU" sz="1600" kern="0" dirty="0" smtClean="0"/>
              <a:t>…</a:t>
            </a:r>
          </a:p>
          <a:p>
            <a:pPr lvl="0"/>
            <a:endParaRPr lang="ru-RU" dirty="0"/>
          </a:p>
        </p:txBody>
      </p:sp>
      <p:pic>
        <p:nvPicPr>
          <p:cNvPr id="19460" name="Picture 4" descr="Mariupol gerb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2132856"/>
            <a:ext cx="1512168" cy="1784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 userDrawn="1"/>
        </p:nvSpPr>
        <p:spPr>
          <a:xfrm>
            <a:off x="2576736" y="2412177"/>
            <a:ext cx="12234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Mariupol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200" spc="300" baseline="0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strong city</a:t>
            </a:r>
            <a:endParaRPr lang="ru-RU" sz="1200" spc="3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2354643" y="2996952"/>
            <a:ext cx="144622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800" b="1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Мариуполь</a:t>
            </a:r>
            <a:endParaRPr lang="ru-R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800" spc="300" baseline="0" dirty="0" smtClean="0">
                <a:latin typeface="Baskerville Old Face" panose="02020602080505020303" pitchFamily="18" charset="0"/>
                <a:cs typeface="Arial" panose="020B0604020202020204" pitchFamily="34" charset="0"/>
              </a:rPr>
              <a:t>Сильный город</a:t>
            </a:r>
            <a:endParaRPr lang="ru-RU" sz="800" spc="300" baseline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Прямая соединительная линия 14"/>
          <p:cNvCxnSpPr>
            <a:stCxn id="19460" idx="1"/>
          </p:cNvCxnSpPr>
          <p:nvPr userDrawn="1"/>
        </p:nvCxnSpPr>
        <p:spPr>
          <a:xfrm flipH="1">
            <a:off x="0" y="3025035"/>
            <a:ext cx="3944888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016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2517677" y="5717640"/>
            <a:ext cx="2069143" cy="47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r" eaLnBrk="1" hangingPunct="1">
              <a:lnSpc>
                <a:spcPts val="1995"/>
              </a:lnSpc>
            </a:pPr>
            <a:r>
              <a:rPr lang="ru-RU" sz="1088">
                <a:solidFill>
                  <a:srgbClr val="1E5FAC"/>
                </a:solidFill>
                <a:latin typeface="Segoe UI" panose="020B0502040204020203" pitchFamily="34" charset="0"/>
                <a:ea typeface="Segoe UI Black"/>
                <a:cs typeface="Segoe UI" panose="020B0502040204020203" pitchFamily="34" charset="0"/>
              </a:rPr>
              <a:t>Мариуполь–2016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929" y="1307383"/>
            <a:ext cx="705891" cy="82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648" y="1298744"/>
            <a:ext cx="4267698" cy="4823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617653" y="3030421"/>
            <a:ext cx="3967696" cy="13995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r" defTabSz="902932" rtl="0" eaLnBrk="1" latinLnBrk="0" hangingPunct="1">
              <a:lnSpc>
                <a:spcPts val="3265"/>
              </a:lnSpc>
              <a:defRPr lang="ru-RU" sz="3265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0"/>
          </p:nvPr>
        </p:nvSpPr>
        <p:spPr>
          <a:xfrm>
            <a:off x="617654" y="4429925"/>
            <a:ext cx="3967696" cy="69737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ts val="1995"/>
              </a:lnSpc>
              <a:spcBef>
                <a:spcPts val="0"/>
              </a:spcBef>
              <a:buNone/>
              <a:defRPr lang="ru-RU" sz="1451" kern="1200" dirty="0" smtClean="0">
                <a:solidFill>
                  <a:srgbClr val="1E5FA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1pPr>
            <a:lvl2pPr marL="451466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2pPr>
            <a:lvl3pPr marL="902931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3pPr>
            <a:lvl4pPr marL="1354398" indent="0">
              <a:buNone/>
              <a:defRPr lang="ru-RU" sz="1451" kern="1200" dirty="0" smtClean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4pPr>
            <a:lvl5pPr marL="1805863" indent="0">
              <a:buNone/>
              <a:defRPr lang="ru-RU" sz="1451" kern="1200" dirty="0">
                <a:solidFill>
                  <a:srgbClr val="CCECFC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5331021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37456" y="6525344"/>
            <a:ext cx="64008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987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08" r:id="rId2"/>
    <p:sldLayoutId id="2147483706" r:id="rId3"/>
    <p:sldLayoutId id="2147483682" r:id="rId4"/>
    <p:sldLayoutId id="2147483707" r:id="rId5"/>
    <p:sldLayoutId id="2147483710" r:id="rId6"/>
    <p:sldLayoutId id="2147483714" r:id="rId7"/>
    <p:sldLayoutId id="2147483715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394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02794" rtl="0" eaLnBrk="1" fontAlgn="base" hangingPunct="1">
        <a:spcBef>
          <a:spcPct val="0"/>
        </a:spcBef>
        <a:spcAft>
          <a:spcPct val="0"/>
        </a:spcAft>
        <a:defRPr sz="4354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2pPr>
      <a:lvl3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3pPr>
      <a:lvl4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4pPr>
      <a:lvl5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5pPr>
      <a:lvl6pPr marL="414680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6pPr>
      <a:lvl7pPr marL="829361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7pPr>
      <a:lvl8pPr marL="1244041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8pPr>
      <a:lvl9pPr marL="1658722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9pPr>
    </p:titleStyle>
    <p:bodyStyle>
      <a:lvl1pPr marL="338368" indent="-338368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1pPr>
      <a:lvl2pPr marL="732890" indent="-280774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21" kern="1200">
          <a:solidFill>
            <a:schemeClr val="tx1"/>
          </a:solidFill>
          <a:latin typeface="+mn-lt"/>
          <a:ea typeface="+mn-ea"/>
          <a:cs typeface="+mn-cs"/>
        </a:defRPr>
      </a:lvl2pPr>
      <a:lvl3pPr marL="1127413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58" kern="1200">
          <a:solidFill>
            <a:schemeClr val="tx1"/>
          </a:solidFill>
          <a:latin typeface="+mn-lt"/>
          <a:ea typeface="+mn-ea"/>
          <a:cs typeface="+mn-cs"/>
        </a:defRPr>
      </a:lvl3pPr>
      <a:lvl4pPr marL="1579530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4pPr>
      <a:lvl5pPr marL="2030206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483061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34527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385993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37459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466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2932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398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5863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7328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8795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60260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1726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1240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902794" rtl="0" eaLnBrk="1" fontAlgn="base" hangingPunct="1">
        <a:spcBef>
          <a:spcPct val="0"/>
        </a:spcBef>
        <a:spcAft>
          <a:spcPct val="0"/>
        </a:spcAft>
        <a:defRPr sz="4354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2pPr>
      <a:lvl3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3pPr>
      <a:lvl4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4pPr>
      <a:lvl5pPr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5pPr>
      <a:lvl6pPr marL="414680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6pPr>
      <a:lvl7pPr marL="829361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7pPr>
      <a:lvl8pPr marL="1244041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8pPr>
      <a:lvl9pPr marL="1658722" algn="ctr" defTabSz="902794" rtl="0" eaLnBrk="1" fontAlgn="base" hangingPunct="1">
        <a:spcBef>
          <a:spcPct val="0"/>
        </a:spcBef>
        <a:spcAft>
          <a:spcPct val="0"/>
        </a:spcAft>
        <a:defRPr sz="4354">
          <a:solidFill>
            <a:schemeClr val="tx1"/>
          </a:solidFill>
          <a:latin typeface="Segoe UI Semibold" panose="020B0702040204020203" pitchFamily="34" charset="0"/>
        </a:defRPr>
      </a:lvl9pPr>
    </p:titleStyle>
    <p:bodyStyle>
      <a:lvl1pPr marL="338368" indent="-338368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75" kern="1200">
          <a:solidFill>
            <a:schemeClr val="tx1"/>
          </a:solidFill>
          <a:latin typeface="+mn-lt"/>
          <a:ea typeface="+mn-ea"/>
          <a:cs typeface="+mn-cs"/>
        </a:defRPr>
      </a:lvl1pPr>
      <a:lvl2pPr marL="732890" indent="-280774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21" kern="1200">
          <a:solidFill>
            <a:schemeClr val="tx1"/>
          </a:solidFill>
          <a:latin typeface="+mn-lt"/>
          <a:ea typeface="+mn-ea"/>
          <a:cs typeface="+mn-cs"/>
        </a:defRPr>
      </a:lvl2pPr>
      <a:lvl3pPr marL="1127413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358" kern="1200">
          <a:solidFill>
            <a:schemeClr val="tx1"/>
          </a:solidFill>
          <a:latin typeface="+mn-lt"/>
          <a:ea typeface="+mn-ea"/>
          <a:cs typeface="+mn-cs"/>
        </a:defRPr>
      </a:lvl3pPr>
      <a:lvl4pPr marL="1579530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4pPr>
      <a:lvl5pPr marL="2030206" indent="-224619" algn="l" defTabSz="902794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483061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34527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385993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37459" indent="-225733" algn="l" defTabSz="902932" rtl="0" eaLnBrk="1" latinLnBrk="0" hangingPunct="1">
        <a:spcBef>
          <a:spcPct val="20000"/>
        </a:spcBef>
        <a:buFont typeface="Arial" panose="020B0604020202020204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466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2932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398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5863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7328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8795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60260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1726" algn="l" defTabSz="90293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3"/>
          <p:cNvSpPr txBox="1">
            <a:spLocks/>
          </p:cNvSpPr>
          <p:nvPr/>
        </p:nvSpPr>
        <p:spPr>
          <a:xfrm>
            <a:off x="128464" y="2420888"/>
            <a:ext cx="4202158" cy="70198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algn="r" defTabSz="902932" rtl="0" eaLnBrk="1" fontAlgn="base" latinLnBrk="0" hangingPunct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  <a:defRPr lang="ru-RU" sz="3265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  <a:lvl2pPr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2pPr>
            <a:lvl3pPr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3pPr>
            <a:lvl4pPr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4pPr>
            <a:lvl5pPr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5pPr>
            <a:lvl6pPr marL="414680"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6pPr>
            <a:lvl7pPr marL="829361"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7pPr>
            <a:lvl8pPr marL="1244041"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8pPr>
            <a:lvl9pPr marL="1658722" algn="ctr" defTabSz="902794" rtl="0" eaLnBrk="1" fontAlgn="base" hangingPunct="1">
              <a:spcBef>
                <a:spcPct val="0"/>
              </a:spcBef>
              <a:spcAft>
                <a:spcPct val="0"/>
              </a:spcAft>
              <a:defRPr sz="4354">
                <a:solidFill>
                  <a:schemeClr val="tx1"/>
                </a:solidFill>
                <a:latin typeface="Segoe UI Semibold" panose="020B0702040204020203" pitchFamily="34" charset="0"/>
              </a:defRPr>
            </a:lvl9pPr>
          </a:lstStyle>
          <a:p>
            <a:pPr>
              <a:lnSpc>
                <a:spcPct val="100000"/>
              </a:lnSpc>
            </a:pPr>
            <a:endParaRPr lang="ru-RU" sz="3200" dirty="0" smtClean="0"/>
          </a:p>
        </p:txBody>
      </p:sp>
      <p:sp>
        <p:nvSpPr>
          <p:cNvPr id="2" name="Прямоугольник 1"/>
          <p:cNvSpPr/>
          <p:nvPr/>
        </p:nvSpPr>
        <p:spPr>
          <a:xfrm>
            <a:off x="-2256" y="3356992"/>
            <a:ext cx="900099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dirty="0" smtClean="0">
                <a:solidFill>
                  <a:schemeClr val="tx2"/>
                </a:solidFill>
              </a:rPr>
              <a:t>Маріупольська міська рада</a:t>
            </a:r>
          </a:p>
          <a:p>
            <a:endParaRPr lang="uk-UA" sz="2000" dirty="0">
              <a:solidFill>
                <a:schemeClr val="accent3"/>
              </a:solidFill>
            </a:endParaRPr>
          </a:p>
          <a:p>
            <a:r>
              <a:rPr lang="uk-UA" sz="2000" dirty="0" smtClean="0">
                <a:solidFill>
                  <a:schemeClr val="accent3"/>
                </a:solidFill>
              </a:rPr>
              <a:t>План покращення </a:t>
            </a:r>
            <a:r>
              <a:rPr lang="uk-UA" sz="2000" dirty="0" smtClean="0">
                <a:solidFill>
                  <a:schemeClr val="accent3"/>
                </a:solidFill>
              </a:rPr>
              <a:t>надання </a:t>
            </a:r>
            <a:r>
              <a:rPr lang="uk-UA" sz="2000" dirty="0">
                <a:solidFill>
                  <a:schemeClr val="accent3"/>
                </a:solidFill>
              </a:rPr>
              <a:t>соціальних </a:t>
            </a:r>
            <a:endParaRPr lang="uk-UA" sz="2000" dirty="0" smtClean="0">
              <a:solidFill>
                <a:schemeClr val="accent3"/>
              </a:solidFill>
            </a:endParaRPr>
          </a:p>
          <a:p>
            <a:r>
              <a:rPr lang="uk-UA" sz="2000" dirty="0" smtClean="0">
                <a:solidFill>
                  <a:schemeClr val="accent3"/>
                </a:solidFill>
              </a:rPr>
              <a:t>послуг в </a:t>
            </a:r>
            <a:r>
              <a:rPr lang="uk-UA" sz="2000" dirty="0">
                <a:solidFill>
                  <a:schemeClr val="accent3"/>
                </a:solidFill>
              </a:rPr>
              <a:t>громаді</a:t>
            </a:r>
            <a:r>
              <a:rPr lang="uk-UA" sz="2000" dirty="0" smtClean="0">
                <a:solidFill>
                  <a:schemeClr val="accent3"/>
                </a:solidFill>
              </a:rPr>
              <a:t> </a:t>
            </a:r>
            <a:endParaRPr lang="uk-UA" sz="2000" dirty="0">
              <a:solidFill>
                <a:schemeClr val="accent3"/>
              </a:solidFill>
            </a:endParaRPr>
          </a:p>
          <a:p>
            <a:endParaRPr lang="uk-UA" sz="2000" dirty="0" smtClean="0">
              <a:solidFill>
                <a:schemeClr val="tx2"/>
              </a:solidFill>
            </a:endParaRPr>
          </a:p>
          <a:p>
            <a:endParaRPr lang="ru-RU" sz="20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04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8664" y="2204864"/>
            <a:ext cx="7344816" cy="3096344"/>
          </a:xfrm>
        </p:spPr>
        <p:txBody>
          <a:bodyPr/>
          <a:lstStyle/>
          <a:p>
            <a:pPr algn="just"/>
            <a:r>
              <a:rPr lang="uk-UA" sz="2400" dirty="0" smtClean="0">
                <a:solidFill>
                  <a:schemeClr val="tx1"/>
                </a:solidFill>
              </a:rPr>
              <a:t>Маріуполь – місто, яке розташоване на лінії проведення бойових дій.  Попит на соціальні послуги у </a:t>
            </a:r>
            <a:r>
              <a:rPr lang="uk-UA" sz="2400" dirty="0" err="1" smtClean="0">
                <a:solidFill>
                  <a:schemeClr val="tx1"/>
                </a:solidFill>
              </a:rPr>
              <a:t>зв</a:t>
            </a:r>
            <a:r>
              <a:rPr lang="en-US" sz="2400" dirty="0" smtClean="0">
                <a:solidFill>
                  <a:schemeClr val="tx1"/>
                </a:solidFill>
              </a:rPr>
              <a:t>’</a:t>
            </a:r>
            <a:r>
              <a:rPr lang="uk-UA" sz="2400" dirty="0" smtClean="0">
                <a:solidFill>
                  <a:schemeClr val="tx1"/>
                </a:solidFill>
              </a:rPr>
              <a:t>язку з цим збільшився в декілька раз, сьогодні не вистачає соціальних сервісів та закладів соціального обслуговування, а існуючі заклади потребують модернізації через велике навантаження на інфраструктуру  та персонал   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945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0553" y="1916833"/>
            <a:ext cx="7633962" cy="720080"/>
          </a:xfrm>
        </p:spPr>
        <p:txBody>
          <a:bodyPr/>
          <a:lstStyle/>
          <a:p>
            <a:pPr algn="ctr"/>
            <a:r>
              <a:rPr lang="uk-UA" dirty="0" smtClean="0"/>
              <a:t>     </a:t>
            </a:r>
            <a:r>
              <a:rPr lang="uk-UA" b="1" dirty="0" smtClean="0"/>
              <a:t>Визначення  потреб</a:t>
            </a:r>
            <a:endParaRPr lang="ru-RU" b="1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704528" y="2852936"/>
            <a:ext cx="8568952" cy="3672408"/>
          </a:xfrm>
          <a:prstGeom prst="roundRect">
            <a:avLst/>
          </a:prstGeom>
          <a:ln>
            <a:solidFill>
              <a:srgbClr val="00923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AutoNum type="arabicPeriod"/>
            </a:pPr>
            <a:r>
              <a:rPr lang="uk-UA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озробка та вдосконалення методики</a:t>
            </a:r>
          </a:p>
          <a:p>
            <a:pPr algn="just"/>
            <a:endParaRPr lang="uk-UA" sz="24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uk-UA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2. Проведення оцінки потреб громади в соціальних послугах (опитування, соціологічне дослідження, фокус-групи, глибинні інтерв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uk-UA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ю, тощо)</a:t>
            </a:r>
          </a:p>
          <a:p>
            <a:pPr algn="just"/>
            <a:endParaRPr lang="uk-UA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uk-UA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3. Систематизація результатів, проведення обговорень</a:t>
            </a:r>
          </a:p>
          <a:p>
            <a:pPr algn="ctr"/>
            <a:endParaRPr lang="ru-RU" sz="2400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78769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85254" y="253834"/>
            <a:ext cx="6952122" cy="4094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defTabSz="995363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ru-RU" sz="2400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  <a:lvl2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2pPr>
            <a:lvl3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3pPr>
            <a:lvl4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4pPr>
            <a:lvl5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5pPr>
            <a:lvl6pPr marL="4572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6pPr>
            <a:lvl7pPr marL="9144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7pPr>
            <a:lvl8pPr marL="13716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8pPr>
            <a:lvl9pPr marL="18288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8" name="Місце для тексту 2"/>
          <p:cNvSpPr txBox="1">
            <a:spLocks/>
          </p:cNvSpPr>
          <p:nvPr/>
        </p:nvSpPr>
        <p:spPr>
          <a:xfrm>
            <a:off x="2794818" y="1412776"/>
            <a:ext cx="6838701" cy="136815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ОТРЕБНОСТЬ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 В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вязи с проведением АТО возросла социальная напряженность,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аза увеличилось количество граждан, которые нуждаются в психологической помощи,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 33% возросло количество семей, которые нуждаются в дополнительной поддержке социальных служб, в сравнении с 2014 годом почти в 2 раза возросло количество обращений по проблеме насилия. Эт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едет к риску роста домашнего и гендерного насилия, а также социальн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иротств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Місце для тексту 2"/>
          <p:cNvSpPr txBox="1">
            <a:spLocks/>
          </p:cNvSpPr>
          <p:nvPr/>
        </p:nvSpPr>
        <p:spPr>
          <a:xfrm>
            <a:off x="2794818" y="3356992"/>
            <a:ext cx="6840761" cy="242779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оздание безопасного комфортного места во всех районах города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;</a:t>
            </a: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омплексная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оциальная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оддержка;</a:t>
            </a: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сихологическая диагностика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 целью психологической коррекции, реабилитации и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адаптации;</a:t>
            </a: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рофилактические мероприятия</a:t>
            </a: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Місце для тексту 2"/>
          <p:cNvSpPr txBox="1">
            <a:spLocks/>
          </p:cNvSpPr>
          <p:nvPr/>
        </p:nvSpPr>
        <p:spPr>
          <a:xfrm>
            <a:off x="128464" y="1412776"/>
            <a:ext cx="2513580" cy="437200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0"/>
              </a:spcAft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ОЖИДАЕМЫЙ РЕЗУЛЬТАТ:</a:t>
            </a: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нижена социальная напряженность;</a:t>
            </a:r>
          </a:p>
          <a:p>
            <a:pPr marL="171450" indent="-171450" algn="just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Обеспечена необходимая социальная поддержка, социально-психологическая адаптация семей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оторые находятся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кризисе;</a:t>
            </a:r>
          </a:p>
          <a:p>
            <a:pPr marL="171450" indent="-171450" algn="just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емьи преодолевают кризисные ситуации на ранних этапах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928664" y="332656"/>
            <a:ext cx="66203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/>
              <a:t>Відкриття та забезпечення роботи 5 центрів підтримки сім</a:t>
            </a:r>
            <a:r>
              <a:rPr lang="ru-RU" dirty="0"/>
              <a:t>’</a:t>
            </a:r>
            <a:r>
              <a:rPr lang="uk-UA" dirty="0"/>
              <a:t>ї  в міському та районних центрах соціальних служб для сім</a:t>
            </a:r>
            <a:r>
              <a:rPr lang="ru-RU" dirty="0"/>
              <a:t>’</a:t>
            </a:r>
            <a:r>
              <a:rPr lang="uk-UA" dirty="0"/>
              <a:t>ї, дітей та </a:t>
            </a:r>
            <a:r>
              <a:rPr lang="uk-UA" dirty="0" smtClean="0"/>
              <a:t>молоді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745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8584" y="332657"/>
            <a:ext cx="7992888" cy="720079"/>
          </a:xfrm>
        </p:spPr>
        <p:txBody>
          <a:bodyPr/>
          <a:lstStyle/>
          <a:p>
            <a:pPr algn="ctr"/>
            <a:r>
              <a:rPr lang="uk-UA" sz="3200" dirty="0" smtClean="0"/>
              <a:t>Центри підтримки сім</a:t>
            </a:r>
            <a:r>
              <a:rPr lang="en-US" sz="3200" dirty="0" smtClean="0"/>
              <a:t>’</a:t>
            </a:r>
            <a:r>
              <a:rPr lang="uk-UA" sz="3200" dirty="0" smtClean="0"/>
              <a:t>ї </a:t>
            </a:r>
            <a:endParaRPr lang="ru-RU" sz="32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488504" y="1988840"/>
            <a:ext cx="3816424" cy="345638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1"/>
          </p:nvPr>
        </p:nvSpPr>
        <p:spPr>
          <a:xfrm>
            <a:off x="4880992" y="1988840"/>
            <a:ext cx="4104456" cy="3384376"/>
          </a:xfrm>
        </p:spPr>
      </p:sp>
      <p:pic>
        <p:nvPicPr>
          <p:cNvPr id="5" name="Рисунок 4" descr="C:\Users\uzer  z\Desktop\Фото\фото центров\шота\14462835_1158800054157926_3317378955657644836_n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6976" y="1988840"/>
            <a:ext cx="5040560" cy="345638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C:\Users\uzer  z\Desktop\Фото\фото центров\рижский\DSC_0226б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988840"/>
            <a:ext cx="4392488" cy="34563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1811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5594" y="313494"/>
            <a:ext cx="9406395" cy="4094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defTabSz="995363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ru-RU" sz="2400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  <a:lvl2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2pPr>
            <a:lvl3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3pPr>
            <a:lvl4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4pPr>
            <a:lvl5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5pPr>
            <a:lvl6pPr marL="4572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6pPr>
            <a:lvl7pPr marL="9144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7pPr>
            <a:lvl8pPr marL="13716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8pPr>
            <a:lvl9pPr marL="18288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9pPr>
          </a:lstStyle>
          <a:p>
            <a:pPr algn="ctr"/>
            <a:endParaRPr lang="ru-RU" dirty="0"/>
          </a:p>
        </p:txBody>
      </p:sp>
      <p:sp>
        <p:nvSpPr>
          <p:cNvPr id="9" name="Місце для тексту 2"/>
          <p:cNvSpPr txBox="1">
            <a:spLocks/>
          </p:cNvSpPr>
          <p:nvPr/>
        </p:nvSpPr>
        <p:spPr>
          <a:xfrm>
            <a:off x="2936775" y="1916832"/>
            <a:ext cx="6696443" cy="327757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60460" y="313495"/>
            <a:ext cx="586880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dirty="0"/>
              <a:t>Відкриття 2 молодіжних центрів сім</a:t>
            </a:r>
            <a:r>
              <a:rPr lang="ru-RU" dirty="0"/>
              <a:t>’</a:t>
            </a:r>
            <a:r>
              <a:rPr lang="uk-UA" dirty="0"/>
              <a:t>ї </a:t>
            </a:r>
            <a:r>
              <a:rPr lang="uk-UA" dirty="0" smtClean="0"/>
              <a:t>на базі районних центрів </a:t>
            </a:r>
            <a:r>
              <a:rPr lang="uk-UA" dirty="0"/>
              <a:t>соціальних служб для сім</a:t>
            </a:r>
            <a:r>
              <a:rPr lang="ru-RU" dirty="0"/>
              <a:t>’</a:t>
            </a:r>
            <a:r>
              <a:rPr lang="uk-UA" dirty="0"/>
              <a:t>ї, дітей та </a:t>
            </a:r>
            <a:r>
              <a:rPr lang="uk-UA" dirty="0" smtClean="0"/>
              <a:t>молоді</a:t>
            </a:r>
          </a:p>
          <a:p>
            <a:endParaRPr lang="uk-UA" dirty="0"/>
          </a:p>
          <a:p>
            <a:endParaRPr lang="uk-UA" dirty="0" smtClean="0"/>
          </a:p>
          <a:p>
            <a:endParaRPr lang="ru-RU" dirty="0"/>
          </a:p>
        </p:txBody>
      </p:sp>
      <p:pic>
        <p:nvPicPr>
          <p:cNvPr id="4109" name="Picture 13" descr="C:\Users\Фокстрот\Desktop\15283969_1375319672518845_7847237366525584038_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1" y="1052159"/>
            <a:ext cx="4278279" cy="2925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C:\Users\Фокстрот\Desktop\15380580_1375319499185529_4006792190206701163_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590" y="1052159"/>
            <a:ext cx="4340409" cy="2925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1" name="Picture 15" descr="C:\Users\Фокстрот\Desktop\15355710_1375319489185530_1464693873426466617_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93" y="3765046"/>
            <a:ext cx="3881303" cy="205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C:\Users\Фокстрот\Desktop\15253594_1375319342518878_2337823170530798543_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952" y="3498008"/>
            <a:ext cx="4464496" cy="281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893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85254" y="253834"/>
            <a:ext cx="6952122" cy="40943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defTabSz="995363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ru-RU" sz="2400" kern="1200" dirty="0">
                <a:solidFill>
                  <a:srgbClr val="1E5FAC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  <a:lvl2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2pPr>
            <a:lvl3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3pPr>
            <a:lvl4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4pPr>
            <a:lvl5pPr algn="ctr" defTabSz="995363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5pPr>
            <a:lvl6pPr marL="4572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6pPr>
            <a:lvl7pPr marL="9144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7pPr>
            <a:lvl8pPr marL="13716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8pPr>
            <a:lvl9pPr marL="1828800" algn="ctr" defTabSz="995363" rtl="0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Segoe UI Semibold" panose="020B0702040204020203" pitchFamily="34" charset="0"/>
              </a:defRPr>
            </a:lvl9pPr>
          </a:lstStyle>
          <a:p>
            <a:pPr algn="ctr"/>
            <a:r>
              <a:rPr lang="ru-RU" dirty="0" smtClean="0"/>
              <a:t>Центр медиации</a:t>
            </a:r>
            <a:endParaRPr lang="ru-RU" dirty="0"/>
          </a:p>
        </p:txBody>
      </p:sp>
      <p:sp>
        <p:nvSpPr>
          <p:cNvPr id="8" name="Місце для тексту 2"/>
          <p:cNvSpPr txBox="1">
            <a:spLocks/>
          </p:cNvSpPr>
          <p:nvPr/>
        </p:nvSpPr>
        <p:spPr>
          <a:xfrm>
            <a:off x="2792760" y="836712"/>
            <a:ext cx="6840760" cy="17281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ОТРЕБНОСТЬ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: В обществе возросл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оциальная напряженность,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том числе между местными жителями и вынужденными переселенцами, сложная социально-экономическая ситуация усугубляет и семейные конфликты, которые приводят к нестабильному эмоциональному состоянию членов семьи (в том числе детей), нарушению функций семьи. Постоянные семейные конфликты приводят к разводам и домашнему насилию. Так, в сравнении 2014 годом почти в 2 раза возросло количество обращений по проблеме насилия, при этом 80% обращений поступают от женщин.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</a:pP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Місце для тексту 2"/>
          <p:cNvSpPr txBox="1">
            <a:spLocks/>
          </p:cNvSpPr>
          <p:nvPr/>
        </p:nvSpPr>
        <p:spPr>
          <a:xfrm>
            <a:off x="2794819" y="2564904"/>
            <a:ext cx="6840760" cy="338437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600"/>
              </a:spcAft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ЕШЕНИЕ ПРОБЛЕМЫ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: Для своевременного и позитивного решения конфликтов используется метод медиации. Для качественного проведения медиации необходимо создание Центра медиации, который включает в себя:</a:t>
            </a: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лощадку для медиации;</a:t>
            </a: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дготовленных медиаторов;</a:t>
            </a:r>
          </a:p>
          <a:p>
            <a:pPr marL="177800" indent="-17780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рганизаторов процесса медиации.</a:t>
            </a:r>
          </a:p>
          <a:p>
            <a:pPr algn="just">
              <a:lnSpc>
                <a:spcPct val="100000"/>
              </a:lnSpc>
              <a:spcAft>
                <a:spcPts val="0"/>
              </a:spcAft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00000"/>
              </a:lnSpc>
              <a:spcAft>
                <a:spcPts val="0"/>
              </a:spcAft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нтр медиации позволит решать следующие вопросы:</a:t>
            </a:r>
          </a:p>
          <a:p>
            <a:pPr marL="285750" indent="-28575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судебное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азбирательство способов участия родителей, находящихся в разводе, конфликте, в воспитании и проживани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етей;</a:t>
            </a:r>
          </a:p>
          <a:p>
            <a:pPr marL="285750" indent="-28575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шение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вопросов о возможности сохранения семьи, личностных споров не доводя до судебного разбирательства о расторжени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рака</a:t>
            </a:r>
          </a:p>
          <a:p>
            <a:pPr marL="285750" indent="-285750" algn="just">
              <a:lnSpc>
                <a:spcPct val="100000"/>
              </a:lnSpc>
              <a:spcAft>
                <a:spcPts val="0"/>
              </a:spcAft>
              <a:buFontTx/>
              <a:buChar char="-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судебное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регулирование вопросов связанных с правонарушениями несовершеннолетних и молодежи</a:t>
            </a:r>
          </a:p>
          <a:p>
            <a:pPr algn="just">
              <a:lnSpc>
                <a:spcPct val="100000"/>
              </a:lnSpc>
              <a:spcAft>
                <a:spcPts val="0"/>
              </a:spcAft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Місце для тексту 2"/>
          <p:cNvSpPr txBox="1">
            <a:spLocks/>
          </p:cNvSpPr>
          <p:nvPr/>
        </p:nvSpPr>
        <p:spPr>
          <a:xfrm>
            <a:off x="128464" y="4077072"/>
            <a:ext cx="2513580" cy="15841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/>
          <a:lstStyle>
            <a:lvl1pPr marL="0" indent="0" algn="l" defTabSz="995363" rtl="0" eaLnBrk="0" fontAlgn="base" hangingPunct="0">
              <a:lnSpc>
                <a:spcPts val="1200"/>
              </a:lnSpc>
              <a:spcBef>
                <a:spcPts val="0"/>
              </a:spcBef>
              <a:spcAft>
                <a:spcPts val="120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38" indent="-309563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3013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488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38375" indent="-247650" algn="l" defTabSz="99536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7664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421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179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0936" indent="-248879" algn="l" defTabSz="99551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Aft>
                <a:spcPts val="0"/>
              </a:spcAft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ОЖИДАЕМЫЙ РЕЗУЛЬТАТ: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ешение бытовых конфликтов без доведения их до суда;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онструктивное решение конфликтов , основанное на интересах всех участников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лабление социальной напряженности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itchFamily="34" charset="0"/>
              <a:buChar char="•"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98" name="Picture 2" descr="C:\Users\uzer  z\Pictures\mediation - investment i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26" y="2451332"/>
            <a:ext cx="2488618" cy="150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uzer  z\Pictures\woman-and-man-on-couch-near-therapis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31" y="836712"/>
            <a:ext cx="2488618" cy="150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652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2520" y="764704"/>
            <a:ext cx="8513557" cy="5184576"/>
          </a:xfrm>
        </p:spPr>
        <p:txBody>
          <a:bodyPr/>
          <a:lstStyle/>
          <a:p>
            <a:pPr algn="l"/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Відкриття додаткових соціальних</a:t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сервісів в територіальних центрах</a:t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 соціального обслуговування </a:t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(надання соціальних  послуг) </a:t>
            </a:r>
            <a:r>
              <a:rPr lang="uk-UA" sz="1800" dirty="0" smtClean="0">
                <a:latin typeface="Times New Roman" pitchFamily="18" charset="0"/>
                <a:cs typeface="Times New Roman" pitchFamily="18" charset="0"/>
              </a:rPr>
              <a:t>(створення нових соціально-побутових, медичних, педагогічних сервісів, соціального туризму для громадян похилого віку, модернізація та ремонті роботи в будівлях </a:t>
            </a:r>
            <a:r>
              <a:rPr lang="uk-UA" sz="1800" smtClean="0">
                <a:latin typeface="Times New Roman" pitchFamily="18" charset="0"/>
                <a:cs typeface="Times New Roman" pitchFamily="18" charset="0"/>
              </a:rPr>
              <a:t>територіальних центрів) </a:t>
            </a:r>
            <a:r>
              <a:rPr lang="uk-UA" sz="400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uk-UA" sz="400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окращення умов прийому населення</a:t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в управліннях соціального захисту</a:t>
            </a:r>
            <a:br>
              <a:rPr lang="uk-UA" sz="4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uk-UA" sz="4000" dirty="0">
                <a:latin typeface="Times New Roman" pitchFamily="18" charset="0"/>
                <a:cs typeface="Times New Roman" pitchFamily="18" charset="0"/>
              </a:rPr>
            </a:br>
            <a:r>
              <a:rPr lang="uk-UA" sz="4000" dirty="0" smtClean="0">
                <a:latin typeface="Times New Roman" pitchFamily="18" charset="0"/>
                <a:cs typeface="Times New Roman" pitchFamily="18" charset="0"/>
              </a:rPr>
              <a:t>населення </a:t>
            </a:r>
            <a:r>
              <a:rPr lang="uk-UA" sz="1800" dirty="0" smtClean="0">
                <a:latin typeface="Times New Roman" pitchFamily="18" charset="0"/>
                <a:cs typeface="Times New Roman" pitchFamily="18" charset="0"/>
              </a:rPr>
              <a:t>( </a:t>
            </a:r>
            <a:r>
              <a:rPr lang="uk-UA" sz="1600" dirty="0" smtClean="0">
                <a:latin typeface="Times New Roman" pitchFamily="18" charset="0"/>
                <a:cs typeface="Times New Roman" pitchFamily="18" charset="0"/>
              </a:rPr>
              <a:t>фронт-офіси з комфортними зонами очікування, оснащення елементами доступності, навчання персоналу, збільшення штатної чисельності,придбання нової будівлі) </a:t>
            </a:r>
            <a:r>
              <a:rPr lang="uk-UA" sz="4000" dirty="0" smtClean="0"/>
              <a:t/>
            </a:r>
            <a:br>
              <a:rPr lang="uk-UA" sz="4000" dirty="0" smtClean="0"/>
            </a:br>
            <a:endParaRPr lang="ru-RU" sz="4000" dirty="0"/>
          </a:p>
        </p:txBody>
      </p:sp>
    </p:spTree>
    <p:extLst>
      <p:ext uri="{BB962C8B-B14F-4D97-AF65-F5344CB8AC3E}">
        <p14:creationId xmlns:p14="http://schemas.microsoft.com/office/powerpoint/2010/main" val="3749076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OVxNuL10CEOoxT8gse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RbVBsmk.zbJVk1vG7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yb_0KtikCJVjhT008g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RbVBsmk.zbJVk1vG7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yb_0KtikCJVjhT008g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6RbVBsmk.zbJVk1vG7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yb_0KtikCJVjhT008g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S0697OG0e5yfwsOfddIA"/>
</p:tagLst>
</file>

<file path=ppt/theme/theme1.xml><?xml version="1.0" encoding="utf-8"?>
<a:theme xmlns:a="http://schemas.openxmlformats.org/drawingml/2006/main" name="Специальное оформление">
  <a:themeElements>
    <a:clrScheme name="Метинвест">
      <a:dk1>
        <a:srgbClr val="434343"/>
      </a:dk1>
      <a:lt1>
        <a:srgbClr val="FFFFFF"/>
      </a:lt1>
      <a:dk2>
        <a:srgbClr val="3F4852"/>
      </a:dk2>
      <a:lt2>
        <a:srgbClr val="F8F8F8"/>
      </a:lt2>
      <a:accent1>
        <a:srgbClr val="EE2F3C"/>
      </a:accent1>
      <a:accent2>
        <a:srgbClr val="DADADA"/>
      </a:accent2>
      <a:accent3>
        <a:srgbClr val="ACACAC"/>
      </a:accent3>
      <a:accent4>
        <a:srgbClr val="8C8C8C"/>
      </a:accent4>
      <a:accent5>
        <a:srgbClr val="5A5A5A"/>
      </a:accent5>
      <a:accent6>
        <a:srgbClr val="8B0304"/>
      </a:accent6>
      <a:hlink>
        <a:srgbClr val="548DD4"/>
      </a:hlink>
      <a:folHlink>
        <a:srgbClr val="7F7F7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Marsovet_template - ЮК">
  <a:themeElements>
    <a:clrScheme name="FRM">
      <a:dk1>
        <a:srgbClr val="222220"/>
      </a:dk1>
      <a:lt1>
        <a:srgbClr val="FFFFFF"/>
      </a:lt1>
      <a:dk2>
        <a:srgbClr val="1E5FAC"/>
      </a:dk2>
      <a:lt2>
        <a:srgbClr val="DEEEFC"/>
      </a:lt2>
      <a:accent1>
        <a:srgbClr val="82B9E7"/>
      </a:accent1>
      <a:accent2>
        <a:srgbClr val="52B9E9"/>
      </a:accent2>
      <a:accent3>
        <a:srgbClr val="1E5FAC"/>
      </a:accent3>
      <a:accent4>
        <a:srgbClr val="9CCFF3"/>
      </a:accent4>
      <a:accent5>
        <a:srgbClr val="6DCFF6"/>
      </a:accent5>
      <a:accent6>
        <a:srgbClr val="F2CE3B"/>
      </a:accent6>
      <a:hlink>
        <a:srgbClr val="1E5FAC"/>
      </a:hlink>
      <a:folHlink>
        <a:srgbClr val="F2CE3B"/>
      </a:folHlink>
    </a:clrScheme>
    <a:fontScheme name="FRM">
      <a:majorFont>
        <a:latin typeface="Segoe UI Semi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FRM">
      <a:dk1>
        <a:srgbClr val="222220"/>
      </a:dk1>
      <a:lt1>
        <a:srgbClr val="FFFFFF"/>
      </a:lt1>
      <a:dk2>
        <a:srgbClr val="1E5FAC"/>
      </a:dk2>
      <a:lt2>
        <a:srgbClr val="DEEEFC"/>
      </a:lt2>
      <a:accent1>
        <a:srgbClr val="82B9E7"/>
      </a:accent1>
      <a:accent2>
        <a:srgbClr val="52B9E9"/>
      </a:accent2>
      <a:accent3>
        <a:srgbClr val="1E5FAC"/>
      </a:accent3>
      <a:accent4>
        <a:srgbClr val="9CCFF3"/>
      </a:accent4>
      <a:accent5>
        <a:srgbClr val="6DCFF6"/>
      </a:accent5>
      <a:accent6>
        <a:srgbClr val="F2CE3B"/>
      </a:accent6>
      <a:hlink>
        <a:srgbClr val="1E5FAC"/>
      </a:hlink>
      <a:folHlink>
        <a:srgbClr val="F2CE3B"/>
      </a:folHlink>
    </a:clrScheme>
    <a:fontScheme name="FRM">
      <a:majorFont>
        <a:latin typeface="Segoe UI Semi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7884</TotalTime>
  <Words>470</Words>
  <Application>Microsoft Office PowerPoint</Application>
  <PresentationFormat>Лист A4 (210x297 мм)</PresentationFormat>
  <Paragraphs>44</Paragraphs>
  <Slides>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2" baseType="lpstr">
      <vt:lpstr>Специальное оформление</vt:lpstr>
      <vt:lpstr>Marsovet_template - ЮК</vt:lpstr>
      <vt:lpstr>1_Тема Office</vt:lpstr>
      <vt:lpstr>think-cell Slide</vt:lpstr>
      <vt:lpstr>Презентация PowerPoint</vt:lpstr>
      <vt:lpstr>Маріуполь – місто, яке розташоване на лінії проведення бойових дій.  Попит на соціальні послуги у зв’язку з цим збільшився в декілька раз, сьогодні не вистачає соціальних сервісів та закладів соціального обслуговування, а існуючі заклади потребують модернізації через велике навантаження на інфраструктуру  та персонал   </vt:lpstr>
      <vt:lpstr>     Визначення  потреб</vt:lpstr>
      <vt:lpstr>Презентация PowerPoint</vt:lpstr>
      <vt:lpstr>Центри підтримки сім’ї </vt:lpstr>
      <vt:lpstr>Презентация PowerPoint</vt:lpstr>
      <vt:lpstr>Презентация PowerPoint</vt:lpstr>
      <vt:lpstr> Відкриття додаткових соціальних  сервісів в територіальних центрах   соціального обслуговування   (надання соціальних  послуг) (створення нових соціально-побутових, медичних, педагогічних сервісів, соціального туризму для громадян похилого віку, модернізація та ремонті роботи в будівлях територіальних центрів)    Покращення умов прийому населення  в управліннях соціального захисту  населення ( фронт-офіси з комфортними зонами очікування, оснащення елементами доступності, навчання персоналу, збільшення штатної чисельності,придбання нової будівлі)  </vt:lpstr>
    </vt:vector>
  </TitlesOfParts>
  <Company>ММК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ицайло Дмитрий Сергеевич</dc:creator>
  <cp:lastModifiedBy>RePack by Diakov</cp:lastModifiedBy>
  <cp:revision>986</cp:revision>
  <cp:lastPrinted>2015-12-23T10:50:59Z</cp:lastPrinted>
  <dcterms:created xsi:type="dcterms:W3CDTF">2015-12-22T10:19:19Z</dcterms:created>
  <dcterms:modified xsi:type="dcterms:W3CDTF">2016-12-11T21:33:35Z</dcterms:modified>
</cp:coreProperties>
</file>